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93702" autoAdjust="0"/>
  </p:normalViewPr>
  <p:slideViewPr>
    <p:cSldViewPr snapToGrid="0">
      <p:cViewPr varScale="1">
        <p:scale>
          <a:sx n="82" d="100"/>
          <a:sy n="82" d="100"/>
        </p:scale>
        <p:origin x="486" y="6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WORKSPACE, BOARD, CARD, 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TEMPLATE, US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, ACTIVITY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43</TotalTime>
  <Words>4918</Words>
  <Application>Microsoft Office PowerPoint</Application>
  <PresentationFormat>Widescreen</PresentationFormat>
  <Paragraphs>804</Paragraphs>
  <Slides>49</Slides>
  <Notes>31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WORKSPACE, BOARD, CARD, SETTING RELATIONSHIP</vt:lpstr>
      <vt:lpstr>TEMPLATE SCREEN</vt:lpstr>
      <vt:lpstr>TEMPLATE SCREEN</vt:lpstr>
      <vt:lpstr>BOARD, TEMPLATE, USER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, ACTIVITY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94</cp:revision>
  <dcterms:created xsi:type="dcterms:W3CDTF">2025-07-10T03:51:23Z</dcterms:created>
  <dcterms:modified xsi:type="dcterms:W3CDTF">2025-08-10T19:47:25Z</dcterms:modified>
</cp:coreProperties>
</file>